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8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A4F-4E9C-8019-BE8D3A50F83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A4F-4E9C-8019-BE8D3A50F83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A4F-4E9C-8019-BE8D3A50F838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A4F-4E9C-8019-BE8D3A50F838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0A4F-4E9C-8019-BE8D3A50F8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1C-4525-90F6-BBCFB2953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7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332574532295622"/>
          <c:y val="0.86668014320436504"/>
          <c:w val="0.71334835199178193"/>
          <c:h val="4.49124955485794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445EA9-330A-D3D1-44EC-713571E196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F8797919-EFE0-9788-B9EB-F369109D92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Doughnut Chart with Descriptions</a:t>
            </a:r>
          </a:p>
        </p:txBody>
      </p:sp>
      <p:graphicFrame>
        <p:nvGraphicFramePr>
          <p:cNvPr id="33" name="Chart Placeholder 32">
            <a:extLst>
              <a:ext uri="{FF2B5EF4-FFF2-40B4-BE49-F238E27FC236}">
                <a16:creationId xmlns:a16="http://schemas.microsoft.com/office/drawing/2014/main" id="{ACC8377B-A613-DF35-9F09-9F2B478EF637}"/>
              </a:ext>
            </a:extLst>
          </p:cNvPr>
          <p:cNvGraphicFramePr>
            <a:graphicFrameLocks noGrp="1"/>
          </p:cNvGraphicFramePr>
          <p:nvPr>
            <p:ph type="chart" sz="quarter" idx="13"/>
          </p:nvPr>
        </p:nvGraphicFramePr>
        <p:xfrm>
          <a:off x="11218863" y="2103338"/>
          <a:ext cx="6354762" cy="7326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5035C3C8-5B5C-4F78-A5C3-8CDB0F3B7369}"/>
              </a:ext>
            </a:extLst>
          </p:cNvPr>
          <p:cNvSpPr/>
          <p:nvPr/>
        </p:nvSpPr>
        <p:spPr>
          <a:xfrm>
            <a:off x="714374" y="1889125"/>
            <a:ext cx="10230223" cy="16258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</a:p>
          <a:p>
            <a:pPr marL="288000" indent="-28800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Lorem Ipsum has been the industry's standard dummy tex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19C2BF-CF62-9AF0-E33F-C211B4308E8A}"/>
              </a:ext>
            </a:extLst>
          </p:cNvPr>
          <p:cNvSpPr/>
          <p:nvPr/>
        </p:nvSpPr>
        <p:spPr>
          <a:xfrm>
            <a:off x="714374" y="3789283"/>
            <a:ext cx="10230223" cy="16258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</a:p>
          <a:p>
            <a:pPr marL="288000" indent="-28800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Lorem Ipsum has been the industry's standard dummy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23C341-4BAA-E52F-1C4D-C46961E2BF24}"/>
              </a:ext>
            </a:extLst>
          </p:cNvPr>
          <p:cNvSpPr/>
          <p:nvPr/>
        </p:nvSpPr>
        <p:spPr>
          <a:xfrm>
            <a:off x="714374" y="5689442"/>
            <a:ext cx="10230223" cy="16258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</a:p>
          <a:p>
            <a:pPr marL="288000" indent="-288000">
              <a:spcBef>
                <a:spcPts val="300"/>
              </a:spcBef>
              <a:spcAft>
                <a:spcPts val="300"/>
              </a:spcAft>
              <a:buSzPct val="100000"/>
              <a:buFont typeface="Symbol" panose="05050102010706020507" pitchFamily="18" charset="2"/>
              <a:buChar char=""/>
            </a:pPr>
            <a:r>
              <a:rPr lang="en-US" altLang="ko-KR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Lorem Ipsum has been the industry's standard dummy 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7A12E3A-AD08-DB11-2BA1-2A5239B31F8E}"/>
              </a:ext>
            </a:extLst>
          </p:cNvPr>
          <p:cNvSpPr/>
          <p:nvPr/>
        </p:nvSpPr>
        <p:spPr>
          <a:xfrm>
            <a:off x="714374" y="7589600"/>
            <a:ext cx="10230223" cy="16258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</a:p>
          <a:p>
            <a:pPr marL="288000" indent="-28800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Lorem Ipsum has been the industry's standard dummy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9EA4CC-9F10-2008-2FEB-4363D58D41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43873B9F-416C-3333-FFC2-DA2A147C1979}"/>
              </a:ext>
            </a:extLst>
          </p:cNvPr>
          <p:cNvSpPr txBox="1">
            <a:spLocks/>
          </p:cNvSpPr>
          <p:nvPr/>
        </p:nvSpPr>
        <p:spPr>
          <a:xfrm>
            <a:off x="11811000" y="1889125"/>
            <a:ext cx="5442585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6203606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7</TotalTime>
  <Words>100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Doughnut Chart with Descripti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64</cp:revision>
  <dcterms:created xsi:type="dcterms:W3CDTF">2006-08-16T00:00:00Z</dcterms:created>
  <dcterms:modified xsi:type="dcterms:W3CDTF">2025-10-06T09:52:50Z</dcterms:modified>
  <cp:category/>
  <dc:identifier>DAGkDf5R9EM</dc:identifier>
</cp:coreProperties>
</file>